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7"/>
  </p:notesMasterIdLst>
  <p:sldIdLst>
    <p:sldId id="494" r:id="rId3"/>
    <p:sldId id="899" r:id="rId4"/>
    <p:sldId id="471" r:id="rId5"/>
    <p:sldId id="357" r:id="rId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1B1C"/>
    <a:srgbClr val="F9F9FB"/>
    <a:srgbClr val="4472C4"/>
    <a:srgbClr val="091717"/>
    <a:srgbClr val="EFF5FB"/>
    <a:srgbClr val="EAEAEA"/>
    <a:srgbClr val="EAE9E9"/>
    <a:srgbClr val="EBE9E9"/>
    <a:srgbClr val="E8E8E8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20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208" y="632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19-04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7.png"/><Relationship Id="rId7" Type="http://schemas.openxmlformats.org/officeDocument/2006/relationships/image" Target="../media/image1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jp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jpeg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0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9" y="0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39"/>
            <a:ext cx="2106612" cy="1354139"/>
            <a:chOff x="-2231300" y="2231625"/>
            <a:chExt cx="2106943" cy="1353870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230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0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0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9" y="1196752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9397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3A53F70-6EDA-470F-86EB-7A1A4FA43DA0}" type="datetime1">
              <a:rPr lang="nl-NL" smtClean="0">
                <a:solidFill>
                  <a:prstClr val="white"/>
                </a:solidFill>
              </a:rPr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4826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19-04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19-04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19-04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19-04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32" r:id="rId12"/>
    <p:sldLayoutId id="2147483734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4.png"/><Relationship Id="rId10" Type="http://schemas.openxmlformats.org/officeDocument/2006/relationships/image" Target="../media/image32.png"/><Relationship Id="rId4" Type="http://schemas.openxmlformats.org/officeDocument/2006/relationships/image" Target="../media/image27.png"/><Relationship Id="rId9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72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85994"/>
            <a:ext cx="12489084" cy="4003197"/>
          </a:xfrm>
        </p:spPr>
        <p:txBody>
          <a:bodyPr/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r>
              <a:rPr lang="nl-NL" b="1" dirty="0"/>
              <a:t>Producten zijn er.</a:t>
            </a:r>
          </a:p>
        </p:txBody>
      </p:sp>
    </p:spTree>
    <p:extLst>
      <p:ext uri="{BB962C8B-B14F-4D97-AF65-F5344CB8AC3E}">
        <p14:creationId xmlns:p14="http://schemas.microsoft.com/office/powerpoint/2010/main" val="2368334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BD59647D-2FED-4EC3-8ED6-CA1FDE72084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146"/>
          <a:stretch/>
        </p:blipFill>
        <p:spPr>
          <a:xfrm>
            <a:off x="1135063" y="1394460"/>
            <a:ext cx="9921874" cy="4961890"/>
          </a:xfrm>
          <a:prstGeom prst="rect">
            <a:avLst/>
          </a:prstGeom>
        </p:spPr>
      </p:pic>
      <p:sp>
        <p:nvSpPr>
          <p:cNvPr id="15" name="Tijdelijke aanduiding voor tekst 2">
            <a:extLst>
              <a:ext uri="{FF2B5EF4-FFF2-40B4-BE49-F238E27FC236}">
                <a16:creationId xmlns:a16="http://schemas.microsoft.com/office/drawing/2014/main" id="{96B3AA97-3E41-4B27-B29D-131EA2755805}"/>
              </a:ext>
            </a:extLst>
          </p:cNvPr>
          <p:cNvSpPr txBox="1">
            <a:spLocks/>
          </p:cNvSpPr>
          <p:nvPr/>
        </p:nvSpPr>
        <p:spPr>
          <a:xfrm>
            <a:off x="125730" y="1170620"/>
            <a:ext cx="11967210" cy="468000"/>
          </a:xfrm>
          <a:prstGeom prst="rect">
            <a:avLst/>
          </a:prstGeom>
        </p:spPr>
        <p:txBody>
          <a:bodyPr/>
          <a:lstStyle>
            <a:lvl1pPr marL="287993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5986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5986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2" panose="05020102010507070707" pitchFamily="18" charset="2"/>
              <a:buChar char=""/>
              <a:defRPr lang="en-GB" sz="20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978" indent="-287993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 2" panose="05020102010507070707" pitchFamily="18" charset="2"/>
              <a:buChar char="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51971" indent="-287993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 2" panose="05020102010507070707" pitchFamily="18" charset="2"/>
              <a:buChar char="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439964" indent="-287993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727957" indent="-287993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015950" indent="-287993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303942" indent="-287993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GB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dirty="0" err="1"/>
              <a:t>Waterstof</a:t>
            </a:r>
            <a:r>
              <a:rPr lang="en-GB" dirty="0"/>
              <a:t> </a:t>
            </a:r>
            <a:r>
              <a:rPr lang="en-GB" dirty="0" err="1"/>
              <a:t>elektrische</a:t>
            </a:r>
            <a:r>
              <a:rPr lang="en-GB" dirty="0"/>
              <a:t> </a:t>
            </a:r>
            <a:r>
              <a:rPr lang="en-GB" dirty="0" err="1"/>
              <a:t>magazijnvoertuigen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heftrucks</a:t>
            </a:r>
            <a:r>
              <a:rPr lang="en-GB" dirty="0"/>
              <a:t> al </a:t>
            </a:r>
            <a:r>
              <a:rPr lang="en-GB" dirty="0" err="1"/>
              <a:t>jaren</a:t>
            </a:r>
            <a:r>
              <a:rPr lang="en-GB" dirty="0"/>
              <a:t> </a:t>
            </a:r>
            <a:r>
              <a:rPr lang="en-GB" dirty="0" err="1"/>
              <a:t>verkrijgbaar</a:t>
            </a:r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370896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nl-NL" dirty="0"/>
              <a:t>Intern logistiek van fossiel naar elektrisch.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nl-NL" dirty="0"/>
              <a:t>Transitie vorige eeuw gemaakt.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>
          <a:xfrm>
            <a:off x="1298574" y="3018713"/>
            <a:ext cx="10370912" cy="3071812"/>
          </a:xfrm>
        </p:spPr>
        <p:txBody>
          <a:bodyPr/>
          <a:lstStyle/>
          <a:p>
            <a:r>
              <a:rPr lang="nl-NL" sz="2000" dirty="0"/>
              <a:t>Complete range elektrisch beschikbaar.</a:t>
            </a:r>
          </a:p>
          <a:p>
            <a:r>
              <a:rPr lang="nl-NL" sz="2000" dirty="0"/>
              <a:t>Batterij en waterstof.</a:t>
            </a:r>
          </a:p>
          <a:p>
            <a:r>
              <a:rPr lang="nl-NL" sz="2000" dirty="0"/>
              <a:t>Breed aanbod van merken.</a:t>
            </a:r>
          </a:p>
          <a:p>
            <a:r>
              <a:rPr lang="nl-NL" sz="2000" dirty="0"/>
              <a:t>Infra </a:t>
            </a:r>
            <a:r>
              <a:rPr lang="nl-NL" sz="2000" dirty="0" err="1"/>
              <a:t>LiIon</a:t>
            </a:r>
            <a:r>
              <a:rPr lang="nl-NL" sz="2000" dirty="0"/>
              <a:t> en waterstof beide even simpel of uitdagend.</a:t>
            </a:r>
          </a:p>
          <a:p>
            <a:endParaRPr lang="nl-NL" sz="2000" dirty="0"/>
          </a:p>
          <a:p>
            <a:endParaRPr lang="nl-NL" sz="2000" dirty="0"/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3003E950-3139-4AB3-B86F-0D8AB44CCE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8260" y="4197079"/>
            <a:ext cx="3135390" cy="2095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0ED9286-1F9E-4810-A5B9-BA91425D6C37}"/>
              </a:ext>
            </a:extLst>
          </p:cNvPr>
          <p:cNvSpPr txBox="1">
            <a:spLocks/>
          </p:cNvSpPr>
          <p:nvPr/>
        </p:nvSpPr>
        <p:spPr>
          <a:xfrm>
            <a:off x="654050" y="349812"/>
            <a:ext cx="9439433" cy="21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kern="1200" cap="none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/>
                </a:solidFill>
              </a:rPr>
              <a:t>Material handling </a:t>
            </a:r>
            <a:r>
              <a:rPr lang="en-US" sz="3200" b="1" dirty="0" err="1">
                <a:solidFill>
                  <a:schemeClr val="accent1"/>
                </a:solidFill>
              </a:rPr>
              <a:t>loopt</a:t>
            </a:r>
            <a:r>
              <a:rPr lang="en-US" sz="3200" b="1" dirty="0">
                <a:solidFill>
                  <a:schemeClr val="accent1"/>
                </a:solidFill>
              </a:rPr>
              <a:t> </a:t>
            </a:r>
            <a:r>
              <a:rPr lang="en-US" sz="3200" b="1" dirty="0" err="1">
                <a:solidFill>
                  <a:schemeClr val="accent1"/>
                </a:solidFill>
              </a:rPr>
              <a:t>voorop</a:t>
            </a:r>
            <a:r>
              <a:rPr lang="en-US" sz="3200" b="1" dirty="0">
                <a:solidFill>
                  <a:schemeClr val="accent1"/>
                </a:solidFill>
              </a:rPr>
              <a:t>.</a:t>
            </a:r>
            <a:endParaRPr lang="nl-NL" sz="32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86003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51325" y="290792"/>
            <a:ext cx="9439433" cy="21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kern="1200" cap="none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chemeClr val="accent1"/>
                </a:solidFill>
              </a:rPr>
              <a:t>De </a:t>
            </a:r>
            <a:r>
              <a:rPr lang="en-US" sz="3200" dirty="0" err="1">
                <a:solidFill>
                  <a:schemeClr val="accent1"/>
                </a:solidFill>
              </a:rPr>
              <a:t>voertuigen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zijn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er</a:t>
            </a:r>
            <a:r>
              <a:rPr lang="en-US" sz="3200" dirty="0">
                <a:solidFill>
                  <a:schemeClr val="accent1"/>
                </a:solidFill>
              </a:rPr>
              <a:t>, </a:t>
            </a:r>
            <a:r>
              <a:rPr lang="en-US" sz="3200" dirty="0" err="1">
                <a:solidFill>
                  <a:schemeClr val="accent1"/>
                </a:solidFill>
              </a:rPr>
              <a:t>en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  <a:r>
              <a:rPr lang="en-US" sz="3200" dirty="0" err="1">
                <a:solidFill>
                  <a:schemeClr val="accent1"/>
                </a:solidFill>
              </a:rPr>
              <a:t>volop</a:t>
            </a:r>
            <a:r>
              <a:rPr lang="en-US" sz="3200" dirty="0">
                <a:solidFill>
                  <a:schemeClr val="accent1"/>
                </a:solidFill>
              </a:rPr>
              <a:t> in </a:t>
            </a:r>
            <a:r>
              <a:rPr lang="en-US" sz="3200" dirty="0" err="1">
                <a:solidFill>
                  <a:schemeClr val="accent1"/>
                </a:solidFill>
              </a:rPr>
              <a:t>ontwikkeling</a:t>
            </a:r>
            <a:r>
              <a:rPr lang="en-US" sz="3200" dirty="0">
                <a:solidFill>
                  <a:schemeClr val="accent1"/>
                </a:solidFill>
              </a:rPr>
              <a:t>.</a:t>
            </a:r>
            <a:endParaRPr lang="nl-NL" sz="3200" dirty="0">
              <a:solidFill>
                <a:schemeClr val="accent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A8B3AA7-8AEE-4D16-B570-B91906DA14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050" y="2539338"/>
            <a:ext cx="1898082" cy="1159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636465E-EB6F-49EF-B03E-B6A7D0233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666" y="5353051"/>
            <a:ext cx="2147347" cy="1015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754C5749-28D3-4ADB-860C-D448DEB509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6881" y="5153123"/>
            <a:ext cx="2110571" cy="106129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A5E179-AA4A-43A1-A5D3-3D8150DEAC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8260" y="4197079"/>
            <a:ext cx="3135390" cy="2095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8F68BE61-8B35-406D-A74C-C81FA44206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67050" y="1504950"/>
            <a:ext cx="2648260" cy="1324130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3BF808FE-2269-4ABB-B370-D6683AAC9D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53055" y="3044023"/>
            <a:ext cx="2658375" cy="1629578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55355A16-56AE-4725-8810-CBF625C353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76881" y="1513586"/>
            <a:ext cx="2095968" cy="1180683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73D8C1C3-7E13-4A02-8395-7EEE4099A4D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97562" y="2867180"/>
            <a:ext cx="2089891" cy="919552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C4788F85-4330-405F-8702-12CD55CDC24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4050" y="3864290"/>
            <a:ext cx="1898082" cy="1171575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5A90396D-CEA8-4D98-B265-96A38811BA2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4049" y="1513586"/>
            <a:ext cx="1883130" cy="855968"/>
          </a:xfrm>
          <a:prstGeom prst="rect">
            <a:avLst/>
          </a:prstGeom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FAA4A569-7C35-4553-B2F2-87F7C2DB299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897562" y="3972855"/>
            <a:ext cx="2089890" cy="1044945"/>
          </a:xfrm>
          <a:prstGeom prst="rect">
            <a:avLst/>
          </a:prstGeom>
        </p:spPr>
      </p:pic>
      <p:pic>
        <p:nvPicPr>
          <p:cNvPr id="18" name="Afbeelding 17">
            <a:extLst>
              <a:ext uri="{FF2B5EF4-FFF2-40B4-BE49-F238E27FC236}">
                <a16:creationId xmlns:a16="http://schemas.microsoft.com/office/drawing/2014/main" id="{1B7B4402-AC26-4AD9-B682-026F716A1A2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053055" y="4795297"/>
            <a:ext cx="2658375" cy="138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8330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2</TotalTime>
  <Words>64</Words>
  <Application>Microsoft Macintosh PowerPoint</Application>
  <PresentationFormat>Breedbeeld</PresentationFormat>
  <Paragraphs>12</Paragraphs>
  <Slides>4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HelveticaNeueLT Std Lt Cn</vt:lpstr>
      <vt:lpstr>Wingdings 2</vt:lpstr>
      <vt:lpstr>Office Theme</vt:lpstr>
      <vt:lpstr>6_Blank</vt:lpstr>
      <vt:lpstr>think-cell Slid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65</cp:revision>
  <dcterms:created xsi:type="dcterms:W3CDTF">2019-02-24T15:05:00Z</dcterms:created>
  <dcterms:modified xsi:type="dcterms:W3CDTF">2019-04-19T01:34:04Z</dcterms:modified>
</cp:coreProperties>
</file>